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4"/>
  </p:notesMasterIdLst>
  <p:sldIdLst>
    <p:sldId id="274" r:id="rId2"/>
    <p:sldId id="281" r:id="rId3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04">
          <p15:clr>
            <a:srgbClr val="A4A3A4"/>
          </p15:clr>
        </p15:guide>
        <p15:guide id="3" pos="5647">
          <p15:clr>
            <a:srgbClr val="A4A3A4"/>
          </p15:clr>
        </p15:guide>
        <p15:guide id="4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61" autoAdjust="0"/>
    <p:restoredTop sz="94665"/>
  </p:normalViewPr>
  <p:slideViewPr>
    <p:cSldViewPr>
      <p:cViewPr>
        <p:scale>
          <a:sx n="114" d="100"/>
          <a:sy n="114" d="100"/>
        </p:scale>
        <p:origin x="-594" y="-42"/>
      </p:cViewPr>
      <p:guideLst>
        <p:guide orient="horz" pos="2160"/>
        <p:guide pos="204"/>
        <p:guide pos="564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387C6A-97FA-491A-9114-CC191F5BDD43}" type="datetimeFigureOut">
              <a:rPr lang="en-AU" smtClean="0"/>
              <a:t>26/03/2019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709BED6-AADD-4920-AF5C-A7D79A70E9BB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024270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smtClean="0"/>
              <a:t>Bring it all together</a:t>
            </a:r>
            <a:r>
              <a:rPr lang="en-AU" baseline="0" dirty="0" smtClean="0"/>
              <a:t> on our very own one-pager (double sided)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09BED6-AADD-4920-AF5C-A7D79A70E9BB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400063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 smtClean="0"/>
              <a:t>Bring it all together</a:t>
            </a:r>
            <a:r>
              <a:rPr lang="en-AU" baseline="0" dirty="0" smtClean="0"/>
              <a:t> on our very own one-pager (double sided)</a:t>
            </a: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709BED6-AADD-4920-AF5C-A7D79A70E9BB}" type="slidenum">
              <a:rPr lang="en-AU" smtClean="0"/>
              <a:t>2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400063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98704-0E76-4C92-A3D4-CB732B4BED29}" type="datetime1">
              <a:rPr lang="en-AU" smtClean="0"/>
              <a:t>26/03/2019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14188-0DA3-4128-9E3A-8CEB28C626CD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1421277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85F215-AC31-4003-897D-2DA7A285049A}" type="datetime1">
              <a:rPr lang="en-AU" smtClean="0"/>
              <a:t>26/03/2019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14188-0DA3-4128-9E3A-8CEB28C626CD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769840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A81F04-5182-4958-B2A9-8A8D01C0C3DF}" type="datetime1">
              <a:rPr lang="en-AU" smtClean="0"/>
              <a:t>26/03/2019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14188-0DA3-4128-9E3A-8CEB28C626CD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168381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DBCE40-DD7D-4B3E-8C2C-22E9E8799EFD}" type="datetime1">
              <a:rPr lang="en-AU" smtClean="0"/>
              <a:t>26/03/2019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14188-0DA3-4128-9E3A-8CEB28C626CD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7702187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330628-996B-4D78-8A77-EC85E3AB7DB9}" type="datetime1">
              <a:rPr lang="en-AU" smtClean="0"/>
              <a:t>26/03/2019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14188-0DA3-4128-9E3A-8CEB28C626CD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686624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E253C-EEFA-48FA-915C-0560DD521602}" type="datetime1">
              <a:rPr lang="en-AU" smtClean="0"/>
              <a:t>26/03/2019</a:t>
            </a:fld>
            <a:endParaRPr lang="en-A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14188-0DA3-4128-9E3A-8CEB28C626CD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338596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3A858-7D40-4B72-885E-B68965AF1B98}" type="datetime1">
              <a:rPr lang="en-AU" smtClean="0"/>
              <a:t>26/03/2019</a:t>
            </a:fld>
            <a:endParaRPr lang="en-AU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14188-0DA3-4128-9E3A-8CEB28C626CD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597951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A6DB84-D2F8-473C-8825-574AB8C69ECF}" type="datetime1">
              <a:rPr lang="en-AU" smtClean="0"/>
              <a:t>26/03/2019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14188-0DA3-4128-9E3A-8CEB28C626CD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125170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2D0D7E-B14A-48A0-84F7-7A191A1B2E17}" type="datetime1">
              <a:rPr lang="en-AU" smtClean="0"/>
              <a:t>26/03/2019</a:t>
            </a:fld>
            <a:endParaRPr lang="en-AU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14188-0DA3-4128-9E3A-8CEB28C626CD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491402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B6A458-89DC-4F6C-BE84-587DF333B522}" type="datetime1">
              <a:rPr lang="en-AU" smtClean="0"/>
              <a:t>26/03/2019</a:t>
            </a:fld>
            <a:endParaRPr lang="en-A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14188-0DA3-4128-9E3A-8CEB28C626CD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6126263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en-AU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B1B917-C9FB-42AA-B5DE-415A42E778C9}" type="datetime1">
              <a:rPr lang="en-AU" smtClean="0"/>
              <a:t>26/03/2019</a:t>
            </a:fld>
            <a:endParaRPr lang="en-A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814188-0DA3-4128-9E3A-8CEB28C626CD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384492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325531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F8FE2B-05E9-4FD4-A619-3B18A739C49F}" type="datetime1">
              <a:rPr lang="en-AU" smtClean="0"/>
              <a:t>26/03/2019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814188-0DA3-4128-9E3A-8CEB28C626CD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02311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6111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61081" y="260648"/>
            <a:ext cx="15840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en-AU" sz="1400" b="1" dirty="0" smtClean="0">
                <a:solidFill>
                  <a:schemeClr val="accent2"/>
                </a:solidFill>
                <a:ea typeface="宋体" pitchFamily="2" charset="-122"/>
              </a:rPr>
              <a:t>Noble purpose</a:t>
            </a:r>
            <a:endParaRPr lang="en-AU" sz="1400" b="1" dirty="0">
              <a:solidFill>
                <a:schemeClr val="accent2"/>
              </a:solidFill>
              <a:ea typeface="宋体" pitchFamily="2" charset="-122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61081" y="1576537"/>
            <a:ext cx="16786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spcBef>
                <a:spcPct val="50000"/>
              </a:spcBef>
              <a:defRPr sz="1400" b="1">
                <a:solidFill>
                  <a:prstClr val="black">
                    <a:lumMod val="50000"/>
                    <a:lumOff val="50000"/>
                  </a:prstClr>
                </a:solidFill>
                <a:ea typeface="宋体" pitchFamily="2" charset="-122"/>
              </a:defRPr>
            </a:lvl1pPr>
          </a:lstStyle>
          <a:p>
            <a:r>
              <a:rPr lang="en-AU" dirty="0">
                <a:solidFill>
                  <a:schemeClr val="accent2"/>
                </a:solidFill>
              </a:rPr>
              <a:t>Where to play</a:t>
            </a:r>
          </a:p>
        </p:txBody>
      </p:sp>
      <p:sp>
        <p:nvSpPr>
          <p:cNvPr id="18" name="Freeform 141"/>
          <p:cNvSpPr>
            <a:spLocks noChangeAspect="1" noEditPoints="1"/>
          </p:cNvSpPr>
          <p:nvPr/>
        </p:nvSpPr>
        <p:spPr bwMode="auto">
          <a:xfrm>
            <a:off x="421032" y="319878"/>
            <a:ext cx="253109" cy="189317"/>
          </a:xfrm>
          <a:custGeom>
            <a:avLst/>
            <a:gdLst>
              <a:gd name="T0" fmla="*/ 100 w 134"/>
              <a:gd name="T1" fmla="*/ 4 h 101"/>
              <a:gd name="T2" fmla="*/ 120 w 134"/>
              <a:gd name="T3" fmla="*/ 15 h 101"/>
              <a:gd name="T4" fmla="*/ 120 w 134"/>
              <a:gd name="T5" fmla="*/ 42 h 101"/>
              <a:gd name="T6" fmla="*/ 69 w 134"/>
              <a:gd name="T7" fmla="*/ 95 h 101"/>
              <a:gd name="T8" fmla="*/ 67 w 134"/>
              <a:gd name="T9" fmla="*/ 91 h 101"/>
              <a:gd name="T10" fmla="*/ 66 w 134"/>
              <a:gd name="T11" fmla="*/ 95 h 101"/>
              <a:gd name="T12" fmla="*/ 15 w 134"/>
              <a:gd name="T13" fmla="*/ 42 h 101"/>
              <a:gd name="T14" fmla="*/ 15 w 134"/>
              <a:gd name="T15" fmla="*/ 15 h 101"/>
              <a:gd name="T16" fmla="*/ 35 w 134"/>
              <a:gd name="T17" fmla="*/ 4 h 101"/>
              <a:gd name="T18" fmla="*/ 63 w 134"/>
              <a:gd name="T19" fmla="*/ 22 h 101"/>
              <a:gd name="T20" fmla="*/ 64 w 134"/>
              <a:gd name="T21" fmla="*/ 23 h 101"/>
              <a:gd name="T22" fmla="*/ 67 w 134"/>
              <a:gd name="T23" fmla="*/ 28 h 101"/>
              <a:gd name="T24" fmla="*/ 70 w 134"/>
              <a:gd name="T25" fmla="*/ 23 h 101"/>
              <a:gd name="T26" fmla="*/ 71 w 134"/>
              <a:gd name="T27" fmla="*/ 22 h 101"/>
              <a:gd name="T28" fmla="*/ 100 w 134"/>
              <a:gd name="T29" fmla="*/ 4 h 101"/>
              <a:gd name="T30" fmla="*/ 100 w 134"/>
              <a:gd name="T31" fmla="*/ 0 h 101"/>
              <a:gd name="T32" fmla="*/ 67 w 134"/>
              <a:gd name="T33" fmla="*/ 21 h 101"/>
              <a:gd name="T34" fmla="*/ 35 w 134"/>
              <a:gd name="T35" fmla="*/ 0 h 101"/>
              <a:gd name="T36" fmla="*/ 11 w 134"/>
              <a:gd name="T37" fmla="*/ 44 h 101"/>
              <a:gd name="T38" fmla="*/ 66 w 134"/>
              <a:gd name="T39" fmla="*/ 100 h 101"/>
              <a:gd name="T40" fmla="*/ 67 w 134"/>
              <a:gd name="T41" fmla="*/ 101 h 101"/>
              <a:gd name="T42" fmla="*/ 67 w 134"/>
              <a:gd name="T43" fmla="*/ 101 h 101"/>
              <a:gd name="T44" fmla="*/ 67 w 134"/>
              <a:gd name="T45" fmla="*/ 101 h 101"/>
              <a:gd name="T46" fmla="*/ 67 w 134"/>
              <a:gd name="T47" fmla="*/ 101 h 101"/>
              <a:gd name="T48" fmla="*/ 67 w 134"/>
              <a:gd name="T49" fmla="*/ 101 h 101"/>
              <a:gd name="T50" fmla="*/ 67 w 134"/>
              <a:gd name="T51" fmla="*/ 101 h 101"/>
              <a:gd name="T52" fmla="*/ 67 w 134"/>
              <a:gd name="T53" fmla="*/ 101 h 101"/>
              <a:gd name="T54" fmla="*/ 69 w 134"/>
              <a:gd name="T55" fmla="*/ 100 h 101"/>
              <a:gd name="T56" fmla="*/ 123 w 134"/>
              <a:gd name="T57" fmla="*/ 44 h 101"/>
              <a:gd name="T58" fmla="*/ 100 w 134"/>
              <a:gd name="T59" fmla="*/ 0 h 1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34" h="101">
                <a:moveTo>
                  <a:pt x="100" y="4"/>
                </a:moveTo>
                <a:cubicBezTo>
                  <a:pt x="108" y="4"/>
                  <a:pt x="116" y="8"/>
                  <a:pt x="120" y="15"/>
                </a:cubicBezTo>
                <a:cubicBezTo>
                  <a:pt x="125" y="22"/>
                  <a:pt x="124" y="32"/>
                  <a:pt x="120" y="42"/>
                </a:cubicBezTo>
                <a:cubicBezTo>
                  <a:pt x="111" y="60"/>
                  <a:pt x="85" y="83"/>
                  <a:pt x="69" y="95"/>
                </a:cubicBezTo>
                <a:cubicBezTo>
                  <a:pt x="67" y="91"/>
                  <a:pt x="67" y="91"/>
                  <a:pt x="67" y="91"/>
                </a:cubicBezTo>
                <a:cubicBezTo>
                  <a:pt x="66" y="95"/>
                  <a:pt x="66" y="95"/>
                  <a:pt x="66" y="95"/>
                </a:cubicBezTo>
                <a:cubicBezTo>
                  <a:pt x="56" y="87"/>
                  <a:pt x="25" y="62"/>
                  <a:pt x="15" y="42"/>
                </a:cubicBezTo>
                <a:cubicBezTo>
                  <a:pt x="10" y="32"/>
                  <a:pt x="10" y="22"/>
                  <a:pt x="15" y="15"/>
                </a:cubicBezTo>
                <a:cubicBezTo>
                  <a:pt x="19" y="8"/>
                  <a:pt x="26" y="4"/>
                  <a:pt x="35" y="4"/>
                </a:cubicBezTo>
                <a:cubicBezTo>
                  <a:pt x="46" y="4"/>
                  <a:pt x="55" y="10"/>
                  <a:pt x="63" y="22"/>
                </a:cubicBezTo>
                <a:cubicBezTo>
                  <a:pt x="64" y="23"/>
                  <a:pt x="64" y="23"/>
                  <a:pt x="64" y="23"/>
                </a:cubicBezTo>
                <a:cubicBezTo>
                  <a:pt x="67" y="28"/>
                  <a:pt x="67" y="28"/>
                  <a:pt x="67" y="28"/>
                </a:cubicBezTo>
                <a:cubicBezTo>
                  <a:pt x="70" y="23"/>
                  <a:pt x="70" y="23"/>
                  <a:pt x="70" y="23"/>
                </a:cubicBezTo>
                <a:cubicBezTo>
                  <a:pt x="71" y="23"/>
                  <a:pt x="71" y="23"/>
                  <a:pt x="71" y="22"/>
                </a:cubicBezTo>
                <a:cubicBezTo>
                  <a:pt x="79" y="10"/>
                  <a:pt x="89" y="4"/>
                  <a:pt x="100" y="4"/>
                </a:cubicBezTo>
                <a:moveTo>
                  <a:pt x="100" y="0"/>
                </a:moveTo>
                <a:cubicBezTo>
                  <a:pt x="79" y="0"/>
                  <a:pt x="69" y="19"/>
                  <a:pt x="67" y="21"/>
                </a:cubicBezTo>
                <a:cubicBezTo>
                  <a:pt x="66" y="19"/>
                  <a:pt x="55" y="0"/>
                  <a:pt x="35" y="0"/>
                </a:cubicBezTo>
                <a:cubicBezTo>
                  <a:pt x="13" y="0"/>
                  <a:pt x="0" y="22"/>
                  <a:pt x="11" y="44"/>
                </a:cubicBezTo>
                <a:cubicBezTo>
                  <a:pt x="22" y="65"/>
                  <a:pt x="56" y="93"/>
                  <a:pt x="66" y="100"/>
                </a:cubicBezTo>
                <a:cubicBezTo>
                  <a:pt x="66" y="101"/>
                  <a:pt x="67" y="101"/>
                  <a:pt x="67" y="101"/>
                </a:cubicBezTo>
                <a:cubicBezTo>
                  <a:pt x="67" y="101"/>
                  <a:pt x="67" y="101"/>
                  <a:pt x="67" y="101"/>
                </a:cubicBezTo>
                <a:cubicBezTo>
                  <a:pt x="67" y="101"/>
                  <a:pt x="67" y="101"/>
                  <a:pt x="67" y="101"/>
                </a:cubicBezTo>
                <a:cubicBezTo>
                  <a:pt x="67" y="101"/>
                  <a:pt x="67" y="101"/>
                  <a:pt x="67" y="101"/>
                </a:cubicBezTo>
                <a:cubicBezTo>
                  <a:pt x="67" y="101"/>
                  <a:pt x="67" y="101"/>
                  <a:pt x="67" y="101"/>
                </a:cubicBezTo>
                <a:cubicBezTo>
                  <a:pt x="67" y="101"/>
                  <a:pt x="67" y="101"/>
                  <a:pt x="67" y="101"/>
                </a:cubicBezTo>
                <a:cubicBezTo>
                  <a:pt x="67" y="101"/>
                  <a:pt x="67" y="101"/>
                  <a:pt x="67" y="101"/>
                </a:cubicBezTo>
                <a:cubicBezTo>
                  <a:pt x="68" y="101"/>
                  <a:pt x="68" y="101"/>
                  <a:pt x="69" y="100"/>
                </a:cubicBezTo>
                <a:cubicBezTo>
                  <a:pt x="79" y="93"/>
                  <a:pt x="112" y="65"/>
                  <a:pt x="123" y="44"/>
                </a:cubicBezTo>
                <a:cubicBezTo>
                  <a:pt x="134" y="22"/>
                  <a:pt x="121" y="0"/>
                  <a:pt x="10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_tradnl"/>
          </a:p>
        </p:txBody>
      </p:sp>
      <p:grpSp>
        <p:nvGrpSpPr>
          <p:cNvPr id="19" name="Group 4"/>
          <p:cNvGrpSpPr>
            <a:grpSpLocks noChangeAspect="1"/>
          </p:cNvGrpSpPr>
          <p:nvPr/>
        </p:nvGrpSpPr>
        <p:grpSpPr bwMode="auto">
          <a:xfrm>
            <a:off x="398378" y="1625171"/>
            <a:ext cx="298417" cy="210507"/>
            <a:chOff x="369" y="1008"/>
            <a:chExt cx="370" cy="261"/>
          </a:xfrm>
          <a:solidFill>
            <a:schemeClr val="accent2"/>
          </a:solidFill>
        </p:grpSpPr>
        <p:sp>
          <p:nvSpPr>
            <p:cNvPr id="20" name="Freeform 5"/>
            <p:cNvSpPr>
              <a:spLocks noEditPoints="1"/>
            </p:cNvSpPr>
            <p:nvPr/>
          </p:nvSpPr>
          <p:spPr bwMode="auto">
            <a:xfrm>
              <a:off x="369" y="1008"/>
              <a:ext cx="370" cy="261"/>
            </a:xfrm>
            <a:custGeom>
              <a:avLst/>
              <a:gdLst>
                <a:gd name="T0" fmla="*/ 120 w 601"/>
                <a:gd name="T1" fmla="*/ 410 h 420"/>
                <a:gd name="T2" fmla="*/ 120 w 601"/>
                <a:gd name="T3" fmla="*/ 410 h 420"/>
                <a:gd name="T4" fmla="*/ 10 w 601"/>
                <a:gd name="T5" fmla="*/ 300 h 420"/>
                <a:gd name="T6" fmla="*/ 15 w 601"/>
                <a:gd name="T7" fmla="*/ 269 h 420"/>
                <a:gd name="T8" fmla="*/ 120 w 601"/>
                <a:gd name="T9" fmla="*/ 190 h 420"/>
                <a:gd name="T10" fmla="*/ 222 w 601"/>
                <a:gd name="T11" fmla="*/ 260 h 420"/>
                <a:gd name="T12" fmla="*/ 230 w 601"/>
                <a:gd name="T13" fmla="*/ 300 h 420"/>
                <a:gd name="T14" fmla="*/ 120 w 601"/>
                <a:gd name="T15" fmla="*/ 410 h 420"/>
                <a:gd name="T16" fmla="*/ 343 w 601"/>
                <a:gd name="T17" fmla="*/ 255 h 420"/>
                <a:gd name="T18" fmla="*/ 343 w 601"/>
                <a:gd name="T19" fmla="*/ 255 h 420"/>
                <a:gd name="T20" fmla="*/ 302 w 601"/>
                <a:gd name="T21" fmla="*/ 285 h 420"/>
                <a:gd name="T22" fmla="*/ 262 w 601"/>
                <a:gd name="T23" fmla="*/ 259 h 420"/>
                <a:gd name="T24" fmla="*/ 258 w 601"/>
                <a:gd name="T25" fmla="*/ 241 h 420"/>
                <a:gd name="T26" fmla="*/ 302 w 601"/>
                <a:gd name="T27" fmla="*/ 197 h 420"/>
                <a:gd name="T28" fmla="*/ 345 w 601"/>
                <a:gd name="T29" fmla="*/ 241 h 420"/>
                <a:gd name="T30" fmla="*/ 343 w 601"/>
                <a:gd name="T31" fmla="*/ 255 h 420"/>
                <a:gd name="T32" fmla="*/ 480 w 601"/>
                <a:gd name="T33" fmla="*/ 410 h 420"/>
                <a:gd name="T34" fmla="*/ 480 w 601"/>
                <a:gd name="T35" fmla="*/ 410 h 420"/>
                <a:gd name="T36" fmla="*/ 370 w 601"/>
                <a:gd name="T37" fmla="*/ 300 h 420"/>
                <a:gd name="T38" fmla="*/ 381 w 601"/>
                <a:gd name="T39" fmla="*/ 254 h 420"/>
                <a:gd name="T40" fmla="*/ 480 w 601"/>
                <a:gd name="T41" fmla="*/ 190 h 420"/>
                <a:gd name="T42" fmla="*/ 576 w 601"/>
                <a:gd name="T43" fmla="*/ 246 h 420"/>
                <a:gd name="T44" fmla="*/ 590 w 601"/>
                <a:gd name="T45" fmla="*/ 300 h 420"/>
                <a:gd name="T46" fmla="*/ 480 w 601"/>
                <a:gd name="T47" fmla="*/ 410 h 420"/>
                <a:gd name="T48" fmla="*/ 578 w 601"/>
                <a:gd name="T49" fmla="*/ 230 h 420"/>
                <a:gd name="T50" fmla="*/ 578 w 601"/>
                <a:gd name="T51" fmla="*/ 230 h 420"/>
                <a:gd name="T52" fmla="*/ 450 w 601"/>
                <a:gd name="T53" fmla="*/ 71 h 420"/>
                <a:gd name="T54" fmla="*/ 452 w 601"/>
                <a:gd name="T55" fmla="*/ 60 h 420"/>
                <a:gd name="T56" fmla="*/ 382 w 601"/>
                <a:gd name="T57" fmla="*/ 0 h 420"/>
                <a:gd name="T58" fmla="*/ 313 w 601"/>
                <a:gd name="T59" fmla="*/ 60 h 420"/>
                <a:gd name="T60" fmla="*/ 293 w 601"/>
                <a:gd name="T61" fmla="*/ 60 h 420"/>
                <a:gd name="T62" fmla="*/ 223 w 601"/>
                <a:gd name="T63" fmla="*/ 0 h 420"/>
                <a:gd name="T64" fmla="*/ 154 w 601"/>
                <a:gd name="T65" fmla="*/ 60 h 420"/>
                <a:gd name="T66" fmla="*/ 155 w 601"/>
                <a:gd name="T67" fmla="*/ 70 h 420"/>
                <a:gd name="T68" fmla="*/ 17 w 601"/>
                <a:gd name="T69" fmla="*/ 238 h 420"/>
                <a:gd name="T70" fmla="*/ 0 w 601"/>
                <a:gd name="T71" fmla="*/ 300 h 420"/>
                <a:gd name="T72" fmla="*/ 120 w 601"/>
                <a:gd name="T73" fmla="*/ 420 h 420"/>
                <a:gd name="T74" fmla="*/ 241 w 601"/>
                <a:gd name="T75" fmla="*/ 300 h 420"/>
                <a:gd name="T76" fmla="*/ 238 w 601"/>
                <a:gd name="T77" fmla="*/ 276 h 420"/>
                <a:gd name="T78" fmla="*/ 302 w 601"/>
                <a:gd name="T79" fmla="*/ 313 h 420"/>
                <a:gd name="T80" fmla="*/ 361 w 601"/>
                <a:gd name="T81" fmla="*/ 282 h 420"/>
                <a:gd name="T82" fmla="*/ 360 w 601"/>
                <a:gd name="T83" fmla="*/ 300 h 420"/>
                <a:gd name="T84" fmla="*/ 480 w 601"/>
                <a:gd name="T85" fmla="*/ 420 h 420"/>
                <a:gd name="T86" fmla="*/ 601 w 601"/>
                <a:gd name="T87" fmla="*/ 300 h 420"/>
                <a:gd name="T88" fmla="*/ 578 w 601"/>
                <a:gd name="T89" fmla="*/ 230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01" h="420">
                  <a:moveTo>
                    <a:pt x="120" y="410"/>
                  </a:moveTo>
                  <a:lnTo>
                    <a:pt x="120" y="410"/>
                  </a:lnTo>
                  <a:cubicBezTo>
                    <a:pt x="60" y="410"/>
                    <a:pt x="10" y="360"/>
                    <a:pt x="10" y="300"/>
                  </a:cubicBezTo>
                  <a:cubicBezTo>
                    <a:pt x="10" y="289"/>
                    <a:pt x="12" y="279"/>
                    <a:pt x="15" y="269"/>
                  </a:cubicBezTo>
                  <a:cubicBezTo>
                    <a:pt x="28" y="223"/>
                    <a:pt x="70" y="190"/>
                    <a:pt x="120" y="190"/>
                  </a:cubicBezTo>
                  <a:cubicBezTo>
                    <a:pt x="167" y="190"/>
                    <a:pt x="207" y="219"/>
                    <a:pt x="222" y="260"/>
                  </a:cubicBezTo>
                  <a:cubicBezTo>
                    <a:pt x="227" y="273"/>
                    <a:pt x="230" y="286"/>
                    <a:pt x="230" y="300"/>
                  </a:cubicBezTo>
                  <a:cubicBezTo>
                    <a:pt x="230" y="360"/>
                    <a:pt x="181" y="410"/>
                    <a:pt x="120" y="410"/>
                  </a:cubicBezTo>
                  <a:close/>
                  <a:moveTo>
                    <a:pt x="343" y="255"/>
                  </a:moveTo>
                  <a:lnTo>
                    <a:pt x="343" y="255"/>
                  </a:lnTo>
                  <a:cubicBezTo>
                    <a:pt x="337" y="273"/>
                    <a:pt x="321" y="285"/>
                    <a:pt x="302" y="285"/>
                  </a:cubicBezTo>
                  <a:cubicBezTo>
                    <a:pt x="284" y="285"/>
                    <a:pt x="268" y="274"/>
                    <a:pt x="262" y="259"/>
                  </a:cubicBezTo>
                  <a:cubicBezTo>
                    <a:pt x="259" y="253"/>
                    <a:pt x="258" y="247"/>
                    <a:pt x="258" y="241"/>
                  </a:cubicBezTo>
                  <a:cubicBezTo>
                    <a:pt x="258" y="217"/>
                    <a:pt x="278" y="197"/>
                    <a:pt x="302" y="197"/>
                  </a:cubicBezTo>
                  <a:cubicBezTo>
                    <a:pt x="326" y="197"/>
                    <a:pt x="345" y="217"/>
                    <a:pt x="345" y="241"/>
                  </a:cubicBezTo>
                  <a:cubicBezTo>
                    <a:pt x="345" y="246"/>
                    <a:pt x="344" y="251"/>
                    <a:pt x="343" y="255"/>
                  </a:cubicBezTo>
                  <a:close/>
                  <a:moveTo>
                    <a:pt x="480" y="410"/>
                  </a:moveTo>
                  <a:lnTo>
                    <a:pt x="480" y="410"/>
                  </a:lnTo>
                  <a:cubicBezTo>
                    <a:pt x="420" y="410"/>
                    <a:pt x="370" y="360"/>
                    <a:pt x="370" y="300"/>
                  </a:cubicBezTo>
                  <a:cubicBezTo>
                    <a:pt x="370" y="283"/>
                    <a:pt x="374" y="268"/>
                    <a:pt x="381" y="254"/>
                  </a:cubicBezTo>
                  <a:cubicBezTo>
                    <a:pt x="398" y="216"/>
                    <a:pt x="436" y="190"/>
                    <a:pt x="480" y="190"/>
                  </a:cubicBezTo>
                  <a:cubicBezTo>
                    <a:pt x="521" y="190"/>
                    <a:pt x="557" y="213"/>
                    <a:pt x="576" y="246"/>
                  </a:cubicBezTo>
                  <a:cubicBezTo>
                    <a:pt x="585" y="262"/>
                    <a:pt x="590" y="280"/>
                    <a:pt x="590" y="300"/>
                  </a:cubicBezTo>
                  <a:cubicBezTo>
                    <a:pt x="590" y="360"/>
                    <a:pt x="541" y="410"/>
                    <a:pt x="480" y="410"/>
                  </a:cubicBezTo>
                  <a:close/>
                  <a:moveTo>
                    <a:pt x="578" y="230"/>
                  </a:moveTo>
                  <a:lnTo>
                    <a:pt x="578" y="230"/>
                  </a:lnTo>
                  <a:cubicBezTo>
                    <a:pt x="543" y="161"/>
                    <a:pt x="478" y="97"/>
                    <a:pt x="450" y="71"/>
                  </a:cubicBezTo>
                  <a:cubicBezTo>
                    <a:pt x="451" y="68"/>
                    <a:pt x="452" y="64"/>
                    <a:pt x="452" y="60"/>
                  </a:cubicBezTo>
                  <a:cubicBezTo>
                    <a:pt x="452" y="27"/>
                    <a:pt x="421" y="0"/>
                    <a:pt x="382" y="0"/>
                  </a:cubicBezTo>
                  <a:cubicBezTo>
                    <a:pt x="344" y="0"/>
                    <a:pt x="313" y="26"/>
                    <a:pt x="313" y="60"/>
                  </a:cubicBezTo>
                  <a:lnTo>
                    <a:pt x="293" y="60"/>
                  </a:lnTo>
                  <a:cubicBezTo>
                    <a:pt x="292" y="26"/>
                    <a:pt x="261" y="0"/>
                    <a:pt x="223" y="0"/>
                  </a:cubicBezTo>
                  <a:cubicBezTo>
                    <a:pt x="185" y="0"/>
                    <a:pt x="154" y="27"/>
                    <a:pt x="154" y="60"/>
                  </a:cubicBezTo>
                  <a:cubicBezTo>
                    <a:pt x="154" y="64"/>
                    <a:pt x="154" y="67"/>
                    <a:pt x="155" y="70"/>
                  </a:cubicBezTo>
                  <a:cubicBezTo>
                    <a:pt x="69" y="147"/>
                    <a:pt x="33" y="205"/>
                    <a:pt x="17" y="238"/>
                  </a:cubicBezTo>
                  <a:cubicBezTo>
                    <a:pt x="6" y="256"/>
                    <a:pt x="0" y="277"/>
                    <a:pt x="0" y="300"/>
                  </a:cubicBezTo>
                  <a:cubicBezTo>
                    <a:pt x="0" y="366"/>
                    <a:pt x="54" y="420"/>
                    <a:pt x="120" y="420"/>
                  </a:cubicBezTo>
                  <a:cubicBezTo>
                    <a:pt x="187" y="420"/>
                    <a:pt x="241" y="366"/>
                    <a:pt x="241" y="300"/>
                  </a:cubicBezTo>
                  <a:cubicBezTo>
                    <a:pt x="241" y="292"/>
                    <a:pt x="240" y="283"/>
                    <a:pt x="238" y="276"/>
                  </a:cubicBezTo>
                  <a:cubicBezTo>
                    <a:pt x="251" y="298"/>
                    <a:pt x="274" y="313"/>
                    <a:pt x="302" y="313"/>
                  </a:cubicBezTo>
                  <a:cubicBezTo>
                    <a:pt x="326" y="313"/>
                    <a:pt x="348" y="301"/>
                    <a:pt x="361" y="282"/>
                  </a:cubicBezTo>
                  <a:cubicBezTo>
                    <a:pt x="360" y="288"/>
                    <a:pt x="360" y="294"/>
                    <a:pt x="360" y="300"/>
                  </a:cubicBezTo>
                  <a:cubicBezTo>
                    <a:pt x="360" y="366"/>
                    <a:pt x="414" y="420"/>
                    <a:pt x="480" y="420"/>
                  </a:cubicBezTo>
                  <a:cubicBezTo>
                    <a:pt x="547" y="420"/>
                    <a:pt x="601" y="366"/>
                    <a:pt x="601" y="300"/>
                  </a:cubicBezTo>
                  <a:cubicBezTo>
                    <a:pt x="601" y="274"/>
                    <a:pt x="592" y="250"/>
                    <a:pt x="578" y="23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384" y="1183"/>
              <a:ext cx="70" cy="68"/>
            </a:xfrm>
            <a:custGeom>
              <a:avLst/>
              <a:gdLst>
                <a:gd name="T0" fmla="*/ 27 w 114"/>
                <a:gd name="T1" fmla="*/ 0 h 109"/>
                <a:gd name="T2" fmla="*/ 27 w 114"/>
                <a:gd name="T3" fmla="*/ 0 h 109"/>
                <a:gd name="T4" fmla="*/ 114 w 114"/>
                <a:gd name="T5" fmla="*/ 89 h 109"/>
                <a:gd name="T6" fmla="*/ 27 w 114"/>
                <a:gd name="T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4" h="109">
                  <a:moveTo>
                    <a:pt x="27" y="0"/>
                  </a:moveTo>
                  <a:lnTo>
                    <a:pt x="27" y="0"/>
                  </a:lnTo>
                  <a:cubicBezTo>
                    <a:pt x="27" y="0"/>
                    <a:pt x="0" y="109"/>
                    <a:pt x="114" y="89"/>
                  </a:cubicBezTo>
                  <a:cubicBezTo>
                    <a:pt x="114" y="89"/>
                    <a:pt x="35" y="73"/>
                    <a:pt x="27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605" y="1183"/>
              <a:ext cx="69" cy="68"/>
            </a:xfrm>
            <a:custGeom>
              <a:avLst/>
              <a:gdLst>
                <a:gd name="T0" fmla="*/ 26 w 113"/>
                <a:gd name="T1" fmla="*/ 0 h 109"/>
                <a:gd name="T2" fmla="*/ 26 w 113"/>
                <a:gd name="T3" fmla="*/ 0 h 109"/>
                <a:gd name="T4" fmla="*/ 113 w 113"/>
                <a:gd name="T5" fmla="*/ 89 h 109"/>
                <a:gd name="T6" fmla="*/ 26 w 113"/>
                <a:gd name="T7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3" h="109">
                  <a:moveTo>
                    <a:pt x="26" y="0"/>
                  </a:moveTo>
                  <a:lnTo>
                    <a:pt x="26" y="0"/>
                  </a:lnTo>
                  <a:cubicBezTo>
                    <a:pt x="26" y="0"/>
                    <a:pt x="0" y="109"/>
                    <a:pt x="113" y="89"/>
                  </a:cubicBezTo>
                  <a:cubicBezTo>
                    <a:pt x="113" y="89"/>
                    <a:pt x="35" y="73"/>
                    <a:pt x="26" y="0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3" name="TextBox 22"/>
          <p:cNvSpPr txBox="1"/>
          <p:nvPr/>
        </p:nvSpPr>
        <p:spPr>
          <a:xfrm>
            <a:off x="661081" y="3037925"/>
            <a:ext cx="16786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spcBef>
                <a:spcPct val="50000"/>
              </a:spcBef>
              <a:defRPr sz="1400" b="1">
                <a:solidFill>
                  <a:prstClr val="black">
                    <a:lumMod val="50000"/>
                    <a:lumOff val="50000"/>
                  </a:prstClr>
                </a:solidFill>
                <a:ea typeface="宋体" pitchFamily="2" charset="-122"/>
              </a:defRPr>
            </a:lvl1pPr>
          </a:lstStyle>
          <a:p>
            <a:r>
              <a:rPr lang="en-AU" dirty="0" smtClean="0">
                <a:solidFill>
                  <a:schemeClr val="accent2"/>
                </a:solidFill>
              </a:rPr>
              <a:t>How to succeed</a:t>
            </a:r>
            <a:endParaRPr lang="en-AU" dirty="0">
              <a:solidFill>
                <a:schemeClr val="accent2"/>
              </a:solidFill>
            </a:endParaRPr>
          </a:p>
        </p:txBody>
      </p:sp>
      <p:sp>
        <p:nvSpPr>
          <p:cNvPr id="29" name="Freeform 38"/>
          <p:cNvSpPr>
            <a:spLocks noChangeAspect="1" noEditPoints="1"/>
          </p:cNvSpPr>
          <p:nvPr/>
        </p:nvSpPr>
        <p:spPr bwMode="auto">
          <a:xfrm>
            <a:off x="441704" y="3083813"/>
            <a:ext cx="211765" cy="216000"/>
          </a:xfrm>
          <a:custGeom>
            <a:avLst/>
            <a:gdLst>
              <a:gd name="T0" fmla="*/ 146 w 621"/>
              <a:gd name="T1" fmla="*/ 13 h 634"/>
              <a:gd name="T2" fmla="*/ 106 w 621"/>
              <a:gd name="T3" fmla="*/ 0 h 634"/>
              <a:gd name="T4" fmla="*/ 0 w 621"/>
              <a:gd name="T5" fmla="*/ 107 h 634"/>
              <a:gd name="T6" fmla="*/ 146 w 621"/>
              <a:gd name="T7" fmla="*/ 264 h 634"/>
              <a:gd name="T8" fmla="*/ 146 w 621"/>
              <a:gd name="T9" fmla="*/ 284 h 634"/>
              <a:gd name="T10" fmla="*/ 278 w 621"/>
              <a:gd name="T11" fmla="*/ 446 h 634"/>
              <a:gd name="T12" fmla="*/ 278 w 621"/>
              <a:gd name="T13" fmla="*/ 542 h 634"/>
              <a:gd name="T14" fmla="*/ 251 w 621"/>
              <a:gd name="T15" fmla="*/ 568 h 634"/>
              <a:gd name="T16" fmla="*/ 179 w 621"/>
              <a:gd name="T17" fmla="*/ 568 h 634"/>
              <a:gd name="T18" fmla="*/ 146 w 621"/>
              <a:gd name="T19" fmla="*/ 601 h 634"/>
              <a:gd name="T20" fmla="*/ 179 w 621"/>
              <a:gd name="T21" fmla="*/ 634 h 634"/>
              <a:gd name="T22" fmla="*/ 443 w 621"/>
              <a:gd name="T23" fmla="*/ 634 h 634"/>
              <a:gd name="T24" fmla="*/ 476 w 621"/>
              <a:gd name="T25" fmla="*/ 601 h 634"/>
              <a:gd name="T26" fmla="*/ 443 w 621"/>
              <a:gd name="T27" fmla="*/ 568 h 634"/>
              <a:gd name="T28" fmla="*/ 370 w 621"/>
              <a:gd name="T29" fmla="*/ 568 h 634"/>
              <a:gd name="T30" fmla="*/ 344 w 621"/>
              <a:gd name="T31" fmla="*/ 542 h 634"/>
              <a:gd name="T32" fmla="*/ 344 w 621"/>
              <a:gd name="T33" fmla="*/ 446 h 634"/>
              <a:gd name="T34" fmla="*/ 476 w 621"/>
              <a:gd name="T35" fmla="*/ 284 h 634"/>
              <a:gd name="T36" fmla="*/ 476 w 621"/>
              <a:gd name="T37" fmla="*/ 264 h 634"/>
              <a:gd name="T38" fmla="*/ 621 w 621"/>
              <a:gd name="T39" fmla="*/ 107 h 634"/>
              <a:gd name="T40" fmla="*/ 516 w 621"/>
              <a:gd name="T41" fmla="*/ 0 h 634"/>
              <a:gd name="T42" fmla="*/ 476 w 621"/>
              <a:gd name="T43" fmla="*/ 13 h 634"/>
              <a:gd name="T44" fmla="*/ 146 w 621"/>
              <a:gd name="T45" fmla="*/ 13 h 634"/>
              <a:gd name="T46" fmla="*/ 265 w 621"/>
              <a:gd name="T47" fmla="*/ 106 h 634"/>
              <a:gd name="T48" fmla="*/ 265 w 621"/>
              <a:gd name="T49" fmla="*/ 264 h 634"/>
              <a:gd name="T50" fmla="*/ 238 w 621"/>
              <a:gd name="T51" fmla="*/ 291 h 634"/>
              <a:gd name="T52" fmla="*/ 212 w 621"/>
              <a:gd name="T53" fmla="*/ 264 h 634"/>
              <a:gd name="T54" fmla="*/ 212 w 621"/>
              <a:gd name="T55" fmla="*/ 106 h 634"/>
              <a:gd name="T56" fmla="*/ 238 w 621"/>
              <a:gd name="T57" fmla="*/ 79 h 634"/>
              <a:gd name="T58" fmla="*/ 265 w 621"/>
              <a:gd name="T59" fmla="*/ 106 h 634"/>
              <a:gd name="T60" fmla="*/ 66 w 621"/>
              <a:gd name="T61" fmla="*/ 107 h 634"/>
              <a:gd name="T62" fmla="*/ 106 w 621"/>
              <a:gd name="T63" fmla="*/ 67 h 634"/>
              <a:gd name="T64" fmla="*/ 146 w 621"/>
              <a:gd name="T65" fmla="*/ 107 h 634"/>
              <a:gd name="T66" fmla="*/ 146 w 621"/>
              <a:gd name="T67" fmla="*/ 188 h 634"/>
              <a:gd name="T68" fmla="*/ 66 w 621"/>
              <a:gd name="T69" fmla="*/ 107 h 634"/>
              <a:gd name="T70" fmla="*/ 555 w 621"/>
              <a:gd name="T71" fmla="*/ 107 h 634"/>
              <a:gd name="T72" fmla="*/ 476 w 621"/>
              <a:gd name="T73" fmla="*/ 188 h 634"/>
              <a:gd name="T74" fmla="*/ 476 w 621"/>
              <a:gd name="T75" fmla="*/ 107 h 634"/>
              <a:gd name="T76" fmla="*/ 516 w 621"/>
              <a:gd name="T77" fmla="*/ 67 h 634"/>
              <a:gd name="T78" fmla="*/ 555 w 621"/>
              <a:gd name="T79" fmla="*/ 107 h 6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621" h="634">
                <a:moveTo>
                  <a:pt x="146" y="13"/>
                </a:moveTo>
                <a:cubicBezTo>
                  <a:pt x="135" y="7"/>
                  <a:pt x="120" y="0"/>
                  <a:pt x="106" y="0"/>
                </a:cubicBezTo>
                <a:cubicBezTo>
                  <a:pt x="47" y="0"/>
                  <a:pt x="0" y="48"/>
                  <a:pt x="0" y="107"/>
                </a:cubicBezTo>
                <a:cubicBezTo>
                  <a:pt x="0" y="192"/>
                  <a:pt x="91" y="222"/>
                  <a:pt x="146" y="264"/>
                </a:cubicBezTo>
                <a:cubicBezTo>
                  <a:pt x="146" y="284"/>
                  <a:pt x="146" y="284"/>
                  <a:pt x="146" y="284"/>
                </a:cubicBezTo>
                <a:cubicBezTo>
                  <a:pt x="146" y="364"/>
                  <a:pt x="202" y="431"/>
                  <a:pt x="278" y="446"/>
                </a:cubicBezTo>
                <a:cubicBezTo>
                  <a:pt x="278" y="542"/>
                  <a:pt x="278" y="542"/>
                  <a:pt x="278" y="542"/>
                </a:cubicBezTo>
                <a:cubicBezTo>
                  <a:pt x="278" y="556"/>
                  <a:pt x="266" y="568"/>
                  <a:pt x="251" y="568"/>
                </a:cubicBezTo>
                <a:cubicBezTo>
                  <a:pt x="179" y="568"/>
                  <a:pt x="179" y="568"/>
                  <a:pt x="179" y="568"/>
                </a:cubicBezTo>
                <a:cubicBezTo>
                  <a:pt x="160" y="568"/>
                  <a:pt x="146" y="583"/>
                  <a:pt x="146" y="601"/>
                </a:cubicBezTo>
                <a:cubicBezTo>
                  <a:pt x="146" y="620"/>
                  <a:pt x="160" y="634"/>
                  <a:pt x="179" y="634"/>
                </a:cubicBezTo>
                <a:cubicBezTo>
                  <a:pt x="443" y="634"/>
                  <a:pt x="443" y="634"/>
                  <a:pt x="443" y="634"/>
                </a:cubicBezTo>
                <a:cubicBezTo>
                  <a:pt x="461" y="634"/>
                  <a:pt x="476" y="620"/>
                  <a:pt x="476" y="601"/>
                </a:cubicBezTo>
                <a:cubicBezTo>
                  <a:pt x="476" y="583"/>
                  <a:pt x="461" y="568"/>
                  <a:pt x="443" y="568"/>
                </a:cubicBezTo>
                <a:cubicBezTo>
                  <a:pt x="370" y="568"/>
                  <a:pt x="370" y="568"/>
                  <a:pt x="370" y="568"/>
                </a:cubicBezTo>
                <a:cubicBezTo>
                  <a:pt x="356" y="568"/>
                  <a:pt x="344" y="556"/>
                  <a:pt x="344" y="542"/>
                </a:cubicBezTo>
                <a:cubicBezTo>
                  <a:pt x="344" y="446"/>
                  <a:pt x="344" y="446"/>
                  <a:pt x="344" y="446"/>
                </a:cubicBezTo>
                <a:cubicBezTo>
                  <a:pt x="419" y="431"/>
                  <a:pt x="476" y="364"/>
                  <a:pt x="476" y="284"/>
                </a:cubicBezTo>
                <a:cubicBezTo>
                  <a:pt x="476" y="264"/>
                  <a:pt x="476" y="264"/>
                  <a:pt x="476" y="264"/>
                </a:cubicBezTo>
                <a:cubicBezTo>
                  <a:pt x="531" y="222"/>
                  <a:pt x="621" y="192"/>
                  <a:pt x="621" y="107"/>
                </a:cubicBezTo>
                <a:cubicBezTo>
                  <a:pt x="621" y="48"/>
                  <a:pt x="574" y="0"/>
                  <a:pt x="516" y="0"/>
                </a:cubicBezTo>
                <a:cubicBezTo>
                  <a:pt x="502" y="0"/>
                  <a:pt x="487" y="7"/>
                  <a:pt x="476" y="13"/>
                </a:cubicBezTo>
                <a:lnTo>
                  <a:pt x="146" y="13"/>
                </a:lnTo>
                <a:close/>
                <a:moveTo>
                  <a:pt x="265" y="106"/>
                </a:moveTo>
                <a:cubicBezTo>
                  <a:pt x="265" y="264"/>
                  <a:pt x="265" y="264"/>
                  <a:pt x="265" y="264"/>
                </a:cubicBezTo>
                <a:cubicBezTo>
                  <a:pt x="265" y="279"/>
                  <a:pt x="253" y="291"/>
                  <a:pt x="238" y="291"/>
                </a:cubicBezTo>
                <a:cubicBezTo>
                  <a:pt x="224" y="291"/>
                  <a:pt x="212" y="279"/>
                  <a:pt x="212" y="264"/>
                </a:cubicBezTo>
                <a:cubicBezTo>
                  <a:pt x="212" y="106"/>
                  <a:pt x="212" y="106"/>
                  <a:pt x="212" y="106"/>
                </a:cubicBezTo>
                <a:cubicBezTo>
                  <a:pt x="212" y="91"/>
                  <a:pt x="224" y="79"/>
                  <a:pt x="238" y="79"/>
                </a:cubicBezTo>
                <a:cubicBezTo>
                  <a:pt x="253" y="79"/>
                  <a:pt x="265" y="91"/>
                  <a:pt x="265" y="106"/>
                </a:cubicBezTo>
                <a:close/>
                <a:moveTo>
                  <a:pt x="66" y="107"/>
                </a:moveTo>
                <a:cubicBezTo>
                  <a:pt x="66" y="85"/>
                  <a:pt x="84" y="67"/>
                  <a:pt x="106" y="67"/>
                </a:cubicBezTo>
                <a:cubicBezTo>
                  <a:pt x="128" y="67"/>
                  <a:pt x="146" y="85"/>
                  <a:pt x="146" y="107"/>
                </a:cubicBezTo>
                <a:cubicBezTo>
                  <a:pt x="146" y="188"/>
                  <a:pt x="146" y="188"/>
                  <a:pt x="146" y="188"/>
                </a:cubicBezTo>
                <a:cubicBezTo>
                  <a:pt x="107" y="164"/>
                  <a:pt x="66" y="148"/>
                  <a:pt x="66" y="107"/>
                </a:cubicBezTo>
                <a:close/>
                <a:moveTo>
                  <a:pt x="555" y="107"/>
                </a:moveTo>
                <a:cubicBezTo>
                  <a:pt x="555" y="148"/>
                  <a:pt x="514" y="164"/>
                  <a:pt x="476" y="188"/>
                </a:cubicBezTo>
                <a:cubicBezTo>
                  <a:pt x="476" y="107"/>
                  <a:pt x="476" y="107"/>
                  <a:pt x="476" y="107"/>
                </a:cubicBezTo>
                <a:cubicBezTo>
                  <a:pt x="476" y="85"/>
                  <a:pt x="494" y="67"/>
                  <a:pt x="516" y="67"/>
                </a:cubicBezTo>
                <a:cubicBezTo>
                  <a:pt x="538" y="67"/>
                  <a:pt x="555" y="85"/>
                  <a:pt x="555" y="10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_tradnl"/>
          </a:p>
        </p:txBody>
      </p:sp>
      <p:sp>
        <p:nvSpPr>
          <p:cNvPr id="40" name="TextBox 39"/>
          <p:cNvSpPr txBox="1"/>
          <p:nvPr/>
        </p:nvSpPr>
        <p:spPr>
          <a:xfrm>
            <a:off x="661081" y="4494344"/>
            <a:ext cx="23267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spcBef>
                <a:spcPct val="50000"/>
              </a:spcBef>
              <a:defRPr sz="1400" b="1">
                <a:solidFill>
                  <a:prstClr val="black">
                    <a:lumMod val="50000"/>
                    <a:lumOff val="50000"/>
                  </a:prstClr>
                </a:solidFill>
                <a:ea typeface="宋体" pitchFamily="2" charset="-122"/>
              </a:defRPr>
            </a:lvl1pPr>
          </a:lstStyle>
          <a:p>
            <a:r>
              <a:rPr lang="en-AU" dirty="0" smtClean="0">
                <a:solidFill>
                  <a:schemeClr val="accent2"/>
                </a:solidFill>
              </a:rPr>
              <a:t>Capabilities required</a:t>
            </a:r>
            <a:endParaRPr lang="en-AU" dirty="0">
              <a:solidFill>
                <a:schemeClr val="accent2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661081" y="5736750"/>
            <a:ext cx="23267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spcBef>
                <a:spcPct val="50000"/>
              </a:spcBef>
              <a:defRPr sz="1400" b="1">
                <a:solidFill>
                  <a:prstClr val="black">
                    <a:lumMod val="50000"/>
                    <a:lumOff val="50000"/>
                  </a:prstClr>
                </a:solidFill>
                <a:ea typeface="宋体" pitchFamily="2" charset="-122"/>
              </a:defRPr>
            </a:lvl1pPr>
          </a:lstStyle>
          <a:p>
            <a:r>
              <a:rPr lang="en-AU" dirty="0" smtClean="0">
                <a:solidFill>
                  <a:schemeClr val="accent2"/>
                </a:solidFill>
              </a:rPr>
              <a:t>Signposts of success</a:t>
            </a:r>
            <a:endParaRPr lang="en-AU" dirty="0">
              <a:solidFill>
                <a:schemeClr val="accent2"/>
              </a:solidFill>
            </a:endParaRPr>
          </a:p>
        </p:txBody>
      </p:sp>
      <p:sp>
        <p:nvSpPr>
          <p:cNvPr id="45" name="Freeform 105"/>
          <p:cNvSpPr>
            <a:spLocks noChangeAspect="1" noEditPoints="1"/>
          </p:cNvSpPr>
          <p:nvPr/>
        </p:nvSpPr>
        <p:spPr bwMode="auto">
          <a:xfrm>
            <a:off x="430297" y="4530943"/>
            <a:ext cx="234578" cy="234578"/>
          </a:xfrm>
          <a:custGeom>
            <a:avLst/>
            <a:gdLst>
              <a:gd name="T0" fmla="*/ 311 w 622"/>
              <a:gd name="T1" fmla="*/ 278 h 621"/>
              <a:gd name="T2" fmla="*/ 311 w 622"/>
              <a:gd name="T3" fmla="*/ 344 h 621"/>
              <a:gd name="T4" fmla="*/ 311 w 622"/>
              <a:gd name="T5" fmla="*/ 225 h 621"/>
              <a:gd name="T6" fmla="*/ 311 w 622"/>
              <a:gd name="T7" fmla="*/ 397 h 621"/>
              <a:gd name="T8" fmla="*/ 311 w 622"/>
              <a:gd name="T9" fmla="*/ 225 h 621"/>
              <a:gd name="T10" fmla="*/ 110 w 622"/>
              <a:gd name="T11" fmla="*/ 424 h 621"/>
              <a:gd name="T12" fmla="*/ 70 w 622"/>
              <a:gd name="T13" fmla="*/ 509 h 621"/>
              <a:gd name="T14" fmla="*/ 154 w 622"/>
              <a:gd name="T15" fmla="*/ 552 h 621"/>
              <a:gd name="T16" fmla="*/ 248 w 622"/>
              <a:gd name="T17" fmla="*/ 533 h 621"/>
              <a:gd name="T18" fmla="*/ 281 w 622"/>
              <a:gd name="T19" fmla="*/ 621 h 621"/>
              <a:gd name="T20" fmla="*/ 370 w 622"/>
              <a:gd name="T21" fmla="*/ 592 h 621"/>
              <a:gd name="T22" fmla="*/ 425 w 622"/>
              <a:gd name="T23" fmla="*/ 512 h 621"/>
              <a:gd name="T24" fmla="*/ 509 w 622"/>
              <a:gd name="T25" fmla="*/ 552 h 621"/>
              <a:gd name="T26" fmla="*/ 552 w 622"/>
              <a:gd name="T27" fmla="*/ 468 h 621"/>
              <a:gd name="T28" fmla="*/ 534 w 622"/>
              <a:gd name="T29" fmla="*/ 374 h 621"/>
              <a:gd name="T30" fmla="*/ 622 w 622"/>
              <a:gd name="T31" fmla="*/ 341 h 621"/>
              <a:gd name="T32" fmla="*/ 593 w 622"/>
              <a:gd name="T33" fmla="*/ 251 h 621"/>
              <a:gd name="T34" fmla="*/ 512 w 622"/>
              <a:gd name="T35" fmla="*/ 197 h 621"/>
              <a:gd name="T36" fmla="*/ 552 w 622"/>
              <a:gd name="T37" fmla="*/ 113 h 621"/>
              <a:gd name="T38" fmla="*/ 468 w 622"/>
              <a:gd name="T39" fmla="*/ 70 h 621"/>
              <a:gd name="T40" fmla="*/ 374 w 622"/>
              <a:gd name="T41" fmla="*/ 88 h 621"/>
              <a:gd name="T42" fmla="*/ 341 w 622"/>
              <a:gd name="T43" fmla="*/ 0 h 621"/>
              <a:gd name="T44" fmla="*/ 252 w 622"/>
              <a:gd name="T45" fmla="*/ 29 h 621"/>
              <a:gd name="T46" fmla="*/ 197 w 622"/>
              <a:gd name="T47" fmla="*/ 109 h 621"/>
              <a:gd name="T48" fmla="*/ 113 w 622"/>
              <a:gd name="T49" fmla="*/ 70 h 621"/>
              <a:gd name="T50" fmla="*/ 70 w 622"/>
              <a:gd name="T51" fmla="*/ 154 h 621"/>
              <a:gd name="T52" fmla="*/ 88 w 622"/>
              <a:gd name="T53" fmla="*/ 248 h 621"/>
              <a:gd name="T54" fmla="*/ 0 w 622"/>
              <a:gd name="T55" fmla="*/ 280 h 621"/>
              <a:gd name="T56" fmla="*/ 29 w 622"/>
              <a:gd name="T57" fmla="*/ 370 h 621"/>
              <a:gd name="T58" fmla="*/ 311 w 622"/>
              <a:gd name="T59" fmla="*/ 172 h 621"/>
              <a:gd name="T60" fmla="*/ 311 w 622"/>
              <a:gd name="T61" fmla="*/ 449 h 621"/>
              <a:gd name="T62" fmla="*/ 311 w 622"/>
              <a:gd name="T63" fmla="*/ 172 h 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622" h="621">
                <a:moveTo>
                  <a:pt x="278" y="311"/>
                </a:moveTo>
                <a:cubicBezTo>
                  <a:pt x="278" y="292"/>
                  <a:pt x="293" y="278"/>
                  <a:pt x="311" y="278"/>
                </a:cubicBezTo>
                <a:cubicBezTo>
                  <a:pt x="329" y="278"/>
                  <a:pt x="344" y="292"/>
                  <a:pt x="344" y="311"/>
                </a:cubicBezTo>
                <a:cubicBezTo>
                  <a:pt x="344" y="329"/>
                  <a:pt x="329" y="344"/>
                  <a:pt x="311" y="344"/>
                </a:cubicBezTo>
                <a:cubicBezTo>
                  <a:pt x="293" y="344"/>
                  <a:pt x="278" y="329"/>
                  <a:pt x="278" y="311"/>
                </a:cubicBezTo>
                <a:close/>
                <a:moveTo>
                  <a:pt x="311" y="225"/>
                </a:moveTo>
                <a:cubicBezTo>
                  <a:pt x="264" y="225"/>
                  <a:pt x="225" y="263"/>
                  <a:pt x="225" y="311"/>
                </a:cubicBezTo>
                <a:cubicBezTo>
                  <a:pt x="225" y="358"/>
                  <a:pt x="264" y="397"/>
                  <a:pt x="311" y="397"/>
                </a:cubicBezTo>
                <a:cubicBezTo>
                  <a:pt x="358" y="397"/>
                  <a:pt x="397" y="358"/>
                  <a:pt x="397" y="311"/>
                </a:cubicBezTo>
                <a:cubicBezTo>
                  <a:pt x="397" y="263"/>
                  <a:pt x="358" y="225"/>
                  <a:pt x="311" y="225"/>
                </a:cubicBezTo>
                <a:close/>
                <a:moveTo>
                  <a:pt x="88" y="374"/>
                </a:moveTo>
                <a:cubicBezTo>
                  <a:pt x="93" y="392"/>
                  <a:pt x="101" y="409"/>
                  <a:pt x="110" y="424"/>
                </a:cubicBezTo>
                <a:cubicBezTo>
                  <a:pt x="70" y="468"/>
                  <a:pt x="70" y="468"/>
                  <a:pt x="70" y="468"/>
                </a:cubicBezTo>
                <a:cubicBezTo>
                  <a:pt x="59" y="479"/>
                  <a:pt x="59" y="497"/>
                  <a:pt x="70" y="509"/>
                </a:cubicBezTo>
                <a:cubicBezTo>
                  <a:pt x="113" y="552"/>
                  <a:pt x="113" y="552"/>
                  <a:pt x="113" y="552"/>
                </a:cubicBezTo>
                <a:cubicBezTo>
                  <a:pt x="124" y="563"/>
                  <a:pt x="143" y="563"/>
                  <a:pt x="154" y="552"/>
                </a:cubicBezTo>
                <a:cubicBezTo>
                  <a:pt x="197" y="512"/>
                  <a:pt x="197" y="512"/>
                  <a:pt x="197" y="512"/>
                </a:cubicBezTo>
                <a:cubicBezTo>
                  <a:pt x="213" y="521"/>
                  <a:pt x="230" y="528"/>
                  <a:pt x="248" y="533"/>
                </a:cubicBezTo>
                <a:cubicBezTo>
                  <a:pt x="252" y="592"/>
                  <a:pt x="252" y="592"/>
                  <a:pt x="252" y="592"/>
                </a:cubicBezTo>
                <a:cubicBezTo>
                  <a:pt x="252" y="608"/>
                  <a:pt x="264" y="621"/>
                  <a:pt x="281" y="621"/>
                </a:cubicBezTo>
                <a:cubicBezTo>
                  <a:pt x="341" y="621"/>
                  <a:pt x="341" y="621"/>
                  <a:pt x="341" y="621"/>
                </a:cubicBezTo>
                <a:cubicBezTo>
                  <a:pt x="358" y="621"/>
                  <a:pt x="370" y="608"/>
                  <a:pt x="370" y="592"/>
                </a:cubicBezTo>
                <a:cubicBezTo>
                  <a:pt x="374" y="533"/>
                  <a:pt x="374" y="533"/>
                  <a:pt x="374" y="533"/>
                </a:cubicBezTo>
                <a:cubicBezTo>
                  <a:pt x="392" y="528"/>
                  <a:pt x="409" y="521"/>
                  <a:pt x="425" y="512"/>
                </a:cubicBezTo>
                <a:cubicBezTo>
                  <a:pt x="468" y="552"/>
                  <a:pt x="468" y="552"/>
                  <a:pt x="468" y="552"/>
                </a:cubicBezTo>
                <a:cubicBezTo>
                  <a:pt x="479" y="563"/>
                  <a:pt x="498" y="563"/>
                  <a:pt x="509" y="552"/>
                </a:cubicBezTo>
                <a:cubicBezTo>
                  <a:pt x="552" y="509"/>
                  <a:pt x="552" y="509"/>
                  <a:pt x="552" y="509"/>
                </a:cubicBezTo>
                <a:cubicBezTo>
                  <a:pt x="563" y="497"/>
                  <a:pt x="563" y="479"/>
                  <a:pt x="552" y="468"/>
                </a:cubicBezTo>
                <a:cubicBezTo>
                  <a:pt x="512" y="424"/>
                  <a:pt x="512" y="424"/>
                  <a:pt x="512" y="424"/>
                </a:cubicBezTo>
                <a:cubicBezTo>
                  <a:pt x="521" y="409"/>
                  <a:pt x="529" y="392"/>
                  <a:pt x="534" y="374"/>
                </a:cubicBezTo>
                <a:cubicBezTo>
                  <a:pt x="593" y="370"/>
                  <a:pt x="593" y="370"/>
                  <a:pt x="593" y="370"/>
                </a:cubicBezTo>
                <a:cubicBezTo>
                  <a:pt x="609" y="370"/>
                  <a:pt x="622" y="357"/>
                  <a:pt x="622" y="341"/>
                </a:cubicBezTo>
                <a:cubicBezTo>
                  <a:pt x="622" y="280"/>
                  <a:pt x="622" y="280"/>
                  <a:pt x="622" y="280"/>
                </a:cubicBezTo>
                <a:cubicBezTo>
                  <a:pt x="622" y="264"/>
                  <a:pt x="609" y="251"/>
                  <a:pt x="593" y="251"/>
                </a:cubicBezTo>
                <a:cubicBezTo>
                  <a:pt x="534" y="248"/>
                  <a:pt x="534" y="248"/>
                  <a:pt x="534" y="248"/>
                </a:cubicBezTo>
                <a:cubicBezTo>
                  <a:pt x="529" y="230"/>
                  <a:pt x="521" y="213"/>
                  <a:pt x="512" y="197"/>
                </a:cubicBezTo>
                <a:cubicBezTo>
                  <a:pt x="552" y="154"/>
                  <a:pt x="552" y="154"/>
                  <a:pt x="552" y="154"/>
                </a:cubicBezTo>
                <a:cubicBezTo>
                  <a:pt x="563" y="142"/>
                  <a:pt x="563" y="124"/>
                  <a:pt x="552" y="113"/>
                </a:cubicBezTo>
                <a:cubicBezTo>
                  <a:pt x="509" y="70"/>
                  <a:pt x="509" y="70"/>
                  <a:pt x="509" y="70"/>
                </a:cubicBezTo>
                <a:cubicBezTo>
                  <a:pt x="498" y="58"/>
                  <a:pt x="479" y="58"/>
                  <a:pt x="468" y="70"/>
                </a:cubicBezTo>
                <a:cubicBezTo>
                  <a:pt x="425" y="109"/>
                  <a:pt x="425" y="109"/>
                  <a:pt x="425" y="109"/>
                </a:cubicBezTo>
                <a:cubicBezTo>
                  <a:pt x="409" y="100"/>
                  <a:pt x="392" y="93"/>
                  <a:pt x="374" y="88"/>
                </a:cubicBezTo>
                <a:cubicBezTo>
                  <a:pt x="370" y="29"/>
                  <a:pt x="370" y="29"/>
                  <a:pt x="370" y="29"/>
                </a:cubicBezTo>
                <a:cubicBezTo>
                  <a:pt x="370" y="13"/>
                  <a:pt x="358" y="0"/>
                  <a:pt x="341" y="0"/>
                </a:cubicBezTo>
                <a:cubicBezTo>
                  <a:pt x="281" y="0"/>
                  <a:pt x="281" y="0"/>
                  <a:pt x="281" y="0"/>
                </a:cubicBezTo>
                <a:cubicBezTo>
                  <a:pt x="264" y="0"/>
                  <a:pt x="252" y="13"/>
                  <a:pt x="252" y="29"/>
                </a:cubicBezTo>
                <a:cubicBezTo>
                  <a:pt x="248" y="88"/>
                  <a:pt x="248" y="88"/>
                  <a:pt x="248" y="88"/>
                </a:cubicBezTo>
                <a:cubicBezTo>
                  <a:pt x="230" y="93"/>
                  <a:pt x="213" y="100"/>
                  <a:pt x="197" y="109"/>
                </a:cubicBezTo>
                <a:cubicBezTo>
                  <a:pt x="154" y="70"/>
                  <a:pt x="154" y="70"/>
                  <a:pt x="154" y="70"/>
                </a:cubicBezTo>
                <a:cubicBezTo>
                  <a:pt x="143" y="58"/>
                  <a:pt x="124" y="58"/>
                  <a:pt x="113" y="70"/>
                </a:cubicBezTo>
                <a:cubicBezTo>
                  <a:pt x="70" y="113"/>
                  <a:pt x="70" y="113"/>
                  <a:pt x="70" y="113"/>
                </a:cubicBezTo>
                <a:cubicBezTo>
                  <a:pt x="59" y="124"/>
                  <a:pt x="59" y="142"/>
                  <a:pt x="70" y="154"/>
                </a:cubicBezTo>
                <a:cubicBezTo>
                  <a:pt x="110" y="197"/>
                  <a:pt x="110" y="197"/>
                  <a:pt x="110" y="197"/>
                </a:cubicBezTo>
                <a:cubicBezTo>
                  <a:pt x="101" y="213"/>
                  <a:pt x="93" y="230"/>
                  <a:pt x="88" y="248"/>
                </a:cubicBezTo>
                <a:cubicBezTo>
                  <a:pt x="29" y="251"/>
                  <a:pt x="29" y="251"/>
                  <a:pt x="29" y="251"/>
                </a:cubicBezTo>
                <a:cubicBezTo>
                  <a:pt x="13" y="251"/>
                  <a:pt x="0" y="264"/>
                  <a:pt x="0" y="280"/>
                </a:cubicBezTo>
                <a:cubicBezTo>
                  <a:pt x="0" y="341"/>
                  <a:pt x="0" y="341"/>
                  <a:pt x="0" y="341"/>
                </a:cubicBezTo>
                <a:cubicBezTo>
                  <a:pt x="0" y="357"/>
                  <a:pt x="13" y="370"/>
                  <a:pt x="29" y="370"/>
                </a:cubicBezTo>
                <a:lnTo>
                  <a:pt x="88" y="374"/>
                </a:lnTo>
                <a:close/>
                <a:moveTo>
                  <a:pt x="311" y="172"/>
                </a:moveTo>
                <a:cubicBezTo>
                  <a:pt x="388" y="172"/>
                  <a:pt x="450" y="234"/>
                  <a:pt x="450" y="311"/>
                </a:cubicBezTo>
                <a:cubicBezTo>
                  <a:pt x="450" y="387"/>
                  <a:pt x="388" y="449"/>
                  <a:pt x="311" y="449"/>
                </a:cubicBezTo>
                <a:cubicBezTo>
                  <a:pt x="234" y="449"/>
                  <a:pt x="172" y="387"/>
                  <a:pt x="172" y="311"/>
                </a:cubicBezTo>
                <a:cubicBezTo>
                  <a:pt x="172" y="234"/>
                  <a:pt x="234" y="172"/>
                  <a:pt x="311" y="172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_tradnl"/>
          </a:p>
        </p:txBody>
      </p:sp>
      <p:sp>
        <p:nvSpPr>
          <p:cNvPr id="46" name="Freeform 5"/>
          <p:cNvSpPr>
            <a:spLocks noChangeAspect="1" noEditPoints="1"/>
          </p:cNvSpPr>
          <p:nvPr/>
        </p:nvSpPr>
        <p:spPr bwMode="auto">
          <a:xfrm>
            <a:off x="426712" y="5751959"/>
            <a:ext cx="241748" cy="216000"/>
          </a:xfrm>
          <a:custGeom>
            <a:avLst/>
            <a:gdLst>
              <a:gd name="T0" fmla="*/ 538 w 543"/>
              <a:gd name="T1" fmla="*/ 112 h 489"/>
              <a:gd name="T2" fmla="*/ 538 w 543"/>
              <a:gd name="T3" fmla="*/ 112 h 489"/>
              <a:gd name="T4" fmla="*/ 473 w 543"/>
              <a:gd name="T5" fmla="*/ 68 h 489"/>
              <a:gd name="T6" fmla="*/ 459 w 543"/>
              <a:gd name="T7" fmla="*/ 62 h 489"/>
              <a:gd name="T8" fmla="*/ 444 w 543"/>
              <a:gd name="T9" fmla="*/ 59 h 489"/>
              <a:gd name="T10" fmla="*/ 258 w 543"/>
              <a:gd name="T11" fmla="*/ 59 h 489"/>
              <a:gd name="T12" fmla="*/ 280 w 543"/>
              <a:gd name="T13" fmla="*/ 184 h 489"/>
              <a:gd name="T14" fmla="*/ 444 w 543"/>
              <a:gd name="T15" fmla="*/ 184 h 489"/>
              <a:gd name="T16" fmla="*/ 459 w 543"/>
              <a:gd name="T17" fmla="*/ 181 h 489"/>
              <a:gd name="T18" fmla="*/ 473 w 543"/>
              <a:gd name="T19" fmla="*/ 175 h 489"/>
              <a:gd name="T20" fmla="*/ 538 w 543"/>
              <a:gd name="T21" fmla="*/ 131 h 489"/>
              <a:gd name="T22" fmla="*/ 543 w 543"/>
              <a:gd name="T23" fmla="*/ 121 h 489"/>
              <a:gd name="T24" fmla="*/ 538 w 543"/>
              <a:gd name="T25" fmla="*/ 112 h 489"/>
              <a:gd name="T26" fmla="*/ 231 w 543"/>
              <a:gd name="T27" fmla="*/ 0 h 489"/>
              <a:gd name="T28" fmla="*/ 231 w 543"/>
              <a:gd name="T29" fmla="*/ 0 h 489"/>
              <a:gd name="T30" fmla="*/ 206 w 543"/>
              <a:gd name="T31" fmla="*/ 0 h 489"/>
              <a:gd name="T32" fmla="*/ 195 w 543"/>
              <a:gd name="T33" fmla="*/ 10 h 489"/>
              <a:gd name="T34" fmla="*/ 195 w 543"/>
              <a:gd name="T35" fmla="*/ 113 h 489"/>
              <a:gd name="T36" fmla="*/ 99 w 543"/>
              <a:gd name="T37" fmla="*/ 113 h 489"/>
              <a:gd name="T38" fmla="*/ 84 w 543"/>
              <a:gd name="T39" fmla="*/ 116 h 489"/>
              <a:gd name="T40" fmla="*/ 70 w 543"/>
              <a:gd name="T41" fmla="*/ 122 h 489"/>
              <a:gd name="T42" fmla="*/ 5 w 543"/>
              <a:gd name="T43" fmla="*/ 167 h 489"/>
              <a:gd name="T44" fmla="*/ 0 w 543"/>
              <a:gd name="T45" fmla="*/ 176 h 489"/>
              <a:gd name="T46" fmla="*/ 5 w 543"/>
              <a:gd name="T47" fmla="*/ 185 h 489"/>
              <a:gd name="T48" fmla="*/ 70 w 543"/>
              <a:gd name="T49" fmla="*/ 229 h 489"/>
              <a:gd name="T50" fmla="*/ 84 w 543"/>
              <a:gd name="T51" fmla="*/ 236 h 489"/>
              <a:gd name="T52" fmla="*/ 99 w 543"/>
              <a:gd name="T53" fmla="*/ 238 h 489"/>
              <a:gd name="T54" fmla="*/ 195 w 543"/>
              <a:gd name="T55" fmla="*/ 238 h 489"/>
              <a:gd name="T56" fmla="*/ 195 w 543"/>
              <a:gd name="T57" fmla="*/ 478 h 489"/>
              <a:gd name="T58" fmla="*/ 206 w 543"/>
              <a:gd name="T59" fmla="*/ 489 h 489"/>
              <a:gd name="T60" fmla="*/ 231 w 543"/>
              <a:gd name="T61" fmla="*/ 489 h 489"/>
              <a:gd name="T62" fmla="*/ 241 w 543"/>
              <a:gd name="T63" fmla="*/ 478 h 489"/>
              <a:gd name="T64" fmla="*/ 241 w 543"/>
              <a:gd name="T65" fmla="*/ 10 h 489"/>
              <a:gd name="T66" fmla="*/ 231 w 543"/>
              <a:gd name="T67" fmla="*/ 0 h 4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43" h="489">
                <a:moveTo>
                  <a:pt x="538" y="112"/>
                </a:moveTo>
                <a:lnTo>
                  <a:pt x="538" y="112"/>
                </a:lnTo>
                <a:lnTo>
                  <a:pt x="473" y="68"/>
                </a:lnTo>
                <a:cubicBezTo>
                  <a:pt x="470" y="65"/>
                  <a:pt x="464" y="63"/>
                  <a:pt x="459" y="62"/>
                </a:cubicBezTo>
                <a:cubicBezTo>
                  <a:pt x="454" y="60"/>
                  <a:pt x="448" y="59"/>
                  <a:pt x="444" y="59"/>
                </a:cubicBezTo>
                <a:lnTo>
                  <a:pt x="258" y="59"/>
                </a:lnTo>
                <a:lnTo>
                  <a:pt x="280" y="184"/>
                </a:lnTo>
                <a:lnTo>
                  <a:pt x="444" y="184"/>
                </a:lnTo>
                <a:cubicBezTo>
                  <a:pt x="448" y="184"/>
                  <a:pt x="454" y="183"/>
                  <a:pt x="459" y="181"/>
                </a:cubicBezTo>
                <a:cubicBezTo>
                  <a:pt x="464" y="180"/>
                  <a:pt x="470" y="177"/>
                  <a:pt x="473" y="175"/>
                </a:cubicBezTo>
                <a:lnTo>
                  <a:pt x="538" y="131"/>
                </a:lnTo>
                <a:cubicBezTo>
                  <a:pt x="541" y="128"/>
                  <a:pt x="543" y="125"/>
                  <a:pt x="543" y="121"/>
                </a:cubicBezTo>
                <a:cubicBezTo>
                  <a:pt x="543" y="118"/>
                  <a:pt x="541" y="115"/>
                  <a:pt x="538" y="112"/>
                </a:cubicBezTo>
                <a:close/>
                <a:moveTo>
                  <a:pt x="231" y="0"/>
                </a:moveTo>
                <a:lnTo>
                  <a:pt x="231" y="0"/>
                </a:lnTo>
                <a:lnTo>
                  <a:pt x="206" y="0"/>
                </a:lnTo>
                <a:cubicBezTo>
                  <a:pt x="200" y="0"/>
                  <a:pt x="195" y="5"/>
                  <a:pt x="195" y="10"/>
                </a:cubicBezTo>
                <a:lnTo>
                  <a:pt x="195" y="113"/>
                </a:lnTo>
                <a:lnTo>
                  <a:pt x="99" y="113"/>
                </a:lnTo>
                <a:cubicBezTo>
                  <a:pt x="95" y="113"/>
                  <a:pt x="89" y="114"/>
                  <a:pt x="84" y="116"/>
                </a:cubicBezTo>
                <a:cubicBezTo>
                  <a:pt x="78" y="118"/>
                  <a:pt x="73" y="120"/>
                  <a:pt x="70" y="122"/>
                </a:cubicBezTo>
                <a:lnTo>
                  <a:pt x="5" y="167"/>
                </a:lnTo>
                <a:cubicBezTo>
                  <a:pt x="1" y="169"/>
                  <a:pt x="0" y="173"/>
                  <a:pt x="0" y="176"/>
                </a:cubicBezTo>
                <a:cubicBezTo>
                  <a:pt x="0" y="179"/>
                  <a:pt x="1" y="182"/>
                  <a:pt x="5" y="185"/>
                </a:cubicBezTo>
                <a:lnTo>
                  <a:pt x="70" y="229"/>
                </a:lnTo>
                <a:cubicBezTo>
                  <a:pt x="73" y="232"/>
                  <a:pt x="78" y="234"/>
                  <a:pt x="84" y="236"/>
                </a:cubicBezTo>
                <a:cubicBezTo>
                  <a:pt x="89" y="237"/>
                  <a:pt x="95" y="238"/>
                  <a:pt x="99" y="238"/>
                </a:cubicBezTo>
                <a:lnTo>
                  <a:pt x="195" y="238"/>
                </a:lnTo>
                <a:lnTo>
                  <a:pt x="195" y="478"/>
                </a:lnTo>
                <a:cubicBezTo>
                  <a:pt x="195" y="484"/>
                  <a:pt x="200" y="489"/>
                  <a:pt x="206" y="489"/>
                </a:cubicBezTo>
                <a:lnTo>
                  <a:pt x="231" y="489"/>
                </a:lnTo>
                <a:cubicBezTo>
                  <a:pt x="237" y="489"/>
                  <a:pt x="241" y="484"/>
                  <a:pt x="241" y="478"/>
                </a:cubicBezTo>
                <a:lnTo>
                  <a:pt x="241" y="10"/>
                </a:lnTo>
                <a:cubicBezTo>
                  <a:pt x="241" y="5"/>
                  <a:pt x="237" y="0"/>
                  <a:pt x="231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427171" y="568425"/>
            <a:ext cx="8465309" cy="84435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5" name="Rectangle 34"/>
          <p:cNvSpPr/>
          <p:nvPr/>
        </p:nvSpPr>
        <p:spPr>
          <a:xfrm>
            <a:off x="427171" y="1936577"/>
            <a:ext cx="8465309" cy="84435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6" name="Rectangle 35"/>
          <p:cNvSpPr/>
          <p:nvPr/>
        </p:nvSpPr>
        <p:spPr>
          <a:xfrm>
            <a:off x="427171" y="3448745"/>
            <a:ext cx="8465309" cy="84435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7" name="Rectangle 36"/>
          <p:cNvSpPr/>
          <p:nvPr/>
        </p:nvSpPr>
        <p:spPr>
          <a:xfrm>
            <a:off x="427171" y="4869160"/>
            <a:ext cx="8465309" cy="63437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9" name="Rectangle 38"/>
          <p:cNvSpPr/>
          <p:nvPr/>
        </p:nvSpPr>
        <p:spPr>
          <a:xfrm>
            <a:off x="427171" y="6093296"/>
            <a:ext cx="8465309" cy="634374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62458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26252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661081" y="260648"/>
            <a:ext cx="158405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50000"/>
              </a:spcBef>
            </a:pPr>
            <a:r>
              <a:rPr lang="en-AU" sz="1400" b="1" dirty="0" smtClean="0">
                <a:solidFill>
                  <a:prstClr val="black">
                    <a:lumMod val="50000"/>
                    <a:lumOff val="50000"/>
                  </a:prstClr>
                </a:solidFill>
                <a:ea typeface="宋体" pitchFamily="2" charset="-122"/>
              </a:rPr>
              <a:t>Action plan</a:t>
            </a:r>
            <a:endParaRPr lang="en-AU" sz="1400" b="1" dirty="0">
              <a:solidFill>
                <a:prstClr val="black">
                  <a:lumMod val="50000"/>
                  <a:lumOff val="50000"/>
                </a:prstClr>
              </a:solidFill>
              <a:ea typeface="宋体" pitchFamily="2" charset="-122"/>
            </a:endParaRPr>
          </a:p>
        </p:txBody>
      </p:sp>
      <p:sp>
        <p:nvSpPr>
          <p:cNvPr id="35" name="Freeform 96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464881" y="288536"/>
            <a:ext cx="196200" cy="252000"/>
          </a:xfrm>
          <a:custGeom>
            <a:avLst/>
            <a:gdLst>
              <a:gd name="T0" fmla="*/ 31 w 103"/>
              <a:gd name="T1" fmla="*/ 73 h 132"/>
              <a:gd name="T2" fmla="*/ 73 w 103"/>
              <a:gd name="T3" fmla="*/ 73 h 132"/>
              <a:gd name="T4" fmla="*/ 73 w 103"/>
              <a:gd name="T5" fmla="*/ 59 h 132"/>
              <a:gd name="T6" fmla="*/ 31 w 103"/>
              <a:gd name="T7" fmla="*/ 59 h 132"/>
              <a:gd name="T8" fmla="*/ 31 w 103"/>
              <a:gd name="T9" fmla="*/ 73 h 132"/>
              <a:gd name="T10" fmla="*/ 89 w 103"/>
              <a:gd name="T11" fmla="*/ 0 h 132"/>
              <a:gd name="T12" fmla="*/ 15 w 103"/>
              <a:gd name="T13" fmla="*/ 0 h 132"/>
              <a:gd name="T14" fmla="*/ 0 w 103"/>
              <a:gd name="T15" fmla="*/ 14 h 132"/>
              <a:gd name="T16" fmla="*/ 0 w 103"/>
              <a:gd name="T17" fmla="*/ 118 h 132"/>
              <a:gd name="T18" fmla="*/ 15 w 103"/>
              <a:gd name="T19" fmla="*/ 132 h 132"/>
              <a:gd name="T20" fmla="*/ 89 w 103"/>
              <a:gd name="T21" fmla="*/ 132 h 132"/>
              <a:gd name="T22" fmla="*/ 103 w 103"/>
              <a:gd name="T23" fmla="*/ 118 h 132"/>
              <a:gd name="T24" fmla="*/ 103 w 103"/>
              <a:gd name="T25" fmla="*/ 14 h 132"/>
              <a:gd name="T26" fmla="*/ 89 w 103"/>
              <a:gd name="T27" fmla="*/ 0 h 132"/>
              <a:gd name="T28" fmla="*/ 89 w 103"/>
              <a:gd name="T29" fmla="*/ 118 h 132"/>
              <a:gd name="T30" fmla="*/ 15 w 103"/>
              <a:gd name="T31" fmla="*/ 118 h 132"/>
              <a:gd name="T32" fmla="*/ 15 w 103"/>
              <a:gd name="T33" fmla="*/ 14 h 132"/>
              <a:gd name="T34" fmla="*/ 89 w 103"/>
              <a:gd name="T35" fmla="*/ 14 h 132"/>
              <a:gd name="T36" fmla="*/ 89 w 103"/>
              <a:gd name="T37" fmla="*/ 118 h 132"/>
              <a:gd name="T38" fmla="*/ 72 w 103"/>
              <a:gd name="T39" fmla="*/ 30 h 132"/>
              <a:gd name="T40" fmla="*/ 31 w 103"/>
              <a:gd name="T41" fmla="*/ 30 h 132"/>
              <a:gd name="T42" fmla="*/ 31 w 103"/>
              <a:gd name="T43" fmla="*/ 43 h 132"/>
              <a:gd name="T44" fmla="*/ 72 w 103"/>
              <a:gd name="T45" fmla="*/ 43 h 132"/>
              <a:gd name="T46" fmla="*/ 72 w 103"/>
              <a:gd name="T47" fmla="*/ 30 h 132"/>
              <a:gd name="T48" fmla="*/ 72 w 103"/>
              <a:gd name="T49" fmla="*/ 88 h 132"/>
              <a:gd name="T50" fmla="*/ 31 w 103"/>
              <a:gd name="T51" fmla="*/ 88 h 132"/>
              <a:gd name="T52" fmla="*/ 31 w 103"/>
              <a:gd name="T53" fmla="*/ 101 h 132"/>
              <a:gd name="T54" fmla="*/ 72 w 103"/>
              <a:gd name="T55" fmla="*/ 101 h 132"/>
              <a:gd name="T56" fmla="*/ 72 w 103"/>
              <a:gd name="T57" fmla="*/ 88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103" h="132">
                <a:moveTo>
                  <a:pt x="31" y="73"/>
                </a:moveTo>
                <a:cubicBezTo>
                  <a:pt x="73" y="73"/>
                  <a:pt x="73" y="73"/>
                  <a:pt x="73" y="73"/>
                </a:cubicBezTo>
                <a:cubicBezTo>
                  <a:pt x="73" y="59"/>
                  <a:pt x="73" y="59"/>
                  <a:pt x="73" y="59"/>
                </a:cubicBezTo>
                <a:cubicBezTo>
                  <a:pt x="31" y="59"/>
                  <a:pt x="31" y="59"/>
                  <a:pt x="31" y="59"/>
                </a:cubicBezTo>
                <a:lnTo>
                  <a:pt x="31" y="73"/>
                </a:lnTo>
                <a:close/>
                <a:moveTo>
                  <a:pt x="89" y="0"/>
                </a:moveTo>
                <a:cubicBezTo>
                  <a:pt x="15" y="0"/>
                  <a:pt x="15" y="0"/>
                  <a:pt x="15" y="0"/>
                </a:cubicBezTo>
                <a:cubicBezTo>
                  <a:pt x="7" y="0"/>
                  <a:pt x="0" y="6"/>
                  <a:pt x="0" y="14"/>
                </a:cubicBezTo>
                <a:cubicBezTo>
                  <a:pt x="0" y="118"/>
                  <a:pt x="0" y="118"/>
                  <a:pt x="0" y="118"/>
                </a:cubicBezTo>
                <a:cubicBezTo>
                  <a:pt x="0" y="126"/>
                  <a:pt x="7" y="132"/>
                  <a:pt x="15" y="132"/>
                </a:cubicBezTo>
                <a:cubicBezTo>
                  <a:pt x="89" y="132"/>
                  <a:pt x="89" y="132"/>
                  <a:pt x="89" y="132"/>
                </a:cubicBezTo>
                <a:cubicBezTo>
                  <a:pt x="97" y="132"/>
                  <a:pt x="103" y="126"/>
                  <a:pt x="103" y="118"/>
                </a:cubicBezTo>
                <a:cubicBezTo>
                  <a:pt x="103" y="14"/>
                  <a:pt x="103" y="14"/>
                  <a:pt x="103" y="14"/>
                </a:cubicBezTo>
                <a:cubicBezTo>
                  <a:pt x="103" y="6"/>
                  <a:pt x="97" y="0"/>
                  <a:pt x="89" y="0"/>
                </a:cubicBezTo>
                <a:close/>
                <a:moveTo>
                  <a:pt x="89" y="118"/>
                </a:moveTo>
                <a:cubicBezTo>
                  <a:pt x="15" y="118"/>
                  <a:pt x="15" y="118"/>
                  <a:pt x="15" y="118"/>
                </a:cubicBezTo>
                <a:cubicBezTo>
                  <a:pt x="15" y="14"/>
                  <a:pt x="15" y="14"/>
                  <a:pt x="15" y="14"/>
                </a:cubicBezTo>
                <a:cubicBezTo>
                  <a:pt x="89" y="14"/>
                  <a:pt x="89" y="14"/>
                  <a:pt x="89" y="14"/>
                </a:cubicBezTo>
                <a:lnTo>
                  <a:pt x="89" y="118"/>
                </a:lnTo>
                <a:close/>
                <a:moveTo>
                  <a:pt x="72" y="30"/>
                </a:moveTo>
                <a:cubicBezTo>
                  <a:pt x="31" y="30"/>
                  <a:pt x="31" y="30"/>
                  <a:pt x="31" y="30"/>
                </a:cubicBezTo>
                <a:cubicBezTo>
                  <a:pt x="31" y="43"/>
                  <a:pt x="31" y="43"/>
                  <a:pt x="31" y="43"/>
                </a:cubicBezTo>
                <a:cubicBezTo>
                  <a:pt x="72" y="43"/>
                  <a:pt x="72" y="43"/>
                  <a:pt x="72" y="43"/>
                </a:cubicBezTo>
                <a:lnTo>
                  <a:pt x="72" y="30"/>
                </a:lnTo>
                <a:close/>
                <a:moveTo>
                  <a:pt x="72" y="88"/>
                </a:moveTo>
                <a:cubicBezTo>
                  <a:pt x="31" y="88"/>
                  <a:pt x="31" y="88"/>
                  <a:pt x="31" y="88"/>
                </a:cubicBezTo>
                <a:cubicBezTo>
                  <a:pt x="31" y="101"/>
                  <a:pt x="31" y="101"/>
                  <a:pt x="31" y="101"/>
                </a:cubicBezTo>
                <a:cubicBezTo>
                  <a:pt x="72" y="101"/>
                  <a:pt x="72" y="101"/>
                  <a:pt x="72" y="101"/>
                </a:cubicBezTo>
                <a:lnTo>
                  <a:pt x="72" y="8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aphicFrame>
        <p:nvGraphicFramePr>
          <p:cNvPr id="36" name="Table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0725302"/>
              </p:ext>
            </p:extLst>
          </p:nvPr>
        </p:nvGraphicFramePr>
        <p:xfrm>
          <a:off x="464882" y="692696"/>
          <a:ext cx="8139565" cy="547260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34910"/>
                <a:gridCol w="1020916"/>
                <a:gridCol w="1627913"/>
                <a:gridCol w="1627913"/>
                <a:gridCol w="1627913"/>
              </a:tblGrid>
              <a:tr h="144016">
                <a:tc>
                  <a:txBody>
                    <a:bodyPr/>
                    <a:lstStyle/>
                    <a:p>
                      <a:pPr algn="ctr"/>
                      <a:r>
                        <a:rPr lang="en-AU" sz="1400" dirty="0" smtClean="0"/>
                        <a:t>What</a:t>
                      </a:r>
                      <a:endParaRPr lang="en-AU" sz="14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 smtClean="0"/>
                        <a:t>Who</a:t>
                      </a:r>
                      <a:endParaRPr lang="en-AU" sz="14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 smtClean="0"/>
                        <a:t>When</a:t>
                      </a:r>
                      <a:endParaRPr lang="en-AU" sz="14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 smtClean="0"/>
                        <a:t>How</a:t>
                      </a:r>
                      <a:r>
                        <a:rPr lang="en-AU" sz="1400" baseline="0" dirty="0" smtClean="0"/>
                        <a:t> much</a:t>
                      </a:r>
                      <a:endParaRPr lang="en-AU" sz="14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AU" sz="1400" dirty="0" smtClean="0"/>
                        <a:t>Status</a:t>
                      </a:r>
                      <a:endParaRPr lang="en-AU" sz="1400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  <a:tr h="559296"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576064"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AU" sz="600" dirty="0"/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6937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AxYnowgw0e_uZzaRTpeyA"/>
</p:tagLst>
</file>

<file path=ppt/theme/theme1.xml><?xml version="1.0" encoding="utf-8"?>
<a:theme xmlns:a="http://schemas.openxmlformats.org/drawingml/2006/main" name="blank">
  <a:themeElements>
    <a:clrScheme name="Deloitte Standard">
      <a:dk1>
        <a:sysClr val="windowText" lastClr="000000"/>
      </a:dk1>
      <a:lt1>
        <a:srgbClr val="FFFFFF"/>
      </a:lt1>
      <a:dk2>
        <a:srgbClr val="002776"/>
      </a:dk2>
      <a:lt2>
        <a:srgbClr val="FFFFFF"/>
      </a:lt2>
      <a:accent1>
        <a:srgbClr val="81BC00"/>
      </a:accent1>
      <a:accent2>
        <a:srgbClr val="00A1DE"/>
      </a:accent2>
      <a:accent3>
        <a:srgbClr val="313131"/>
      </a:accent3>
      <a:accent4>
        <a:srgbClr val="3C8A2E"/>
      </a:accent4>
      <a:accent5>
        <a:srgbClr val="575757"/>
      </a:accent5>
      <a:accent6>
        <a:srgbClr val="8C8C8C"/>
      </a:accent6>
      <a:hlink>
        <a:srgbClr val="0070C0"/>
      </a:hlink>
      <a:folHlink>
        <a:srgbClr val="7030A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83</TotalTime>
  <Words>49</Words>
  <Application>Microsoft Office PowerPoint</Application>
  <PresentationFormat>On-screen Show (4:3)</PresentationFormat>
  <Paragraphs>15</Paragraphs>
  <Slides>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4" baseType="lpstr">
      <vt:lpstr>blank</vt:lpstr>
      <vt:lpstr>think-cell Slide</vt:lpstr>
      <vt:lpstr>PowerPoint Presentation</vt:lpstr>
      <vt:lpstr>PowerPoint Presentation</vt:lpstr>
    </vt:vector>
  </TitlesOfParts>
  <Company>Deloitt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rowitz, Benjamin (AU - Sydney)</dc:creator>
  <cp:lastModifiedBy>Martin Mulcare</cp:lastModifiedBy>
  <cp:revision>52</cp:revision>
  <cp:lastPrinted>2016-10-05T23:13:49Z</cp:lastPrinted>
  <dcterms:created xsi:type="dcterms:W3CDTF">2016-08-29T04:05:36Z</dcterms:created>
  <dcterms:modified xsi:type="dcterms:W3CDTF">2019-03-26T05:58:27Z</dcterms:modified>
</cp:coreProperties>
</file>